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14"/>
  </p:notesMasterIdLst>
  <p:handoutMasterIdLst>
    <p:handoutMasterId r:id="rId15"/>
  </p:handoutMasterIdLst>
  <p:sldIdLst>
    <p:sldId id="256" r:id="rId2"/>
    <p:sldId id="259" r:id="rId3"/>
    <p:sldId id="258" r:id="rId4"/>
    <p:sldId id="278" r:id="rId5"/>
    <p:sldId id="279" r:id="rId6"/>
    <p:sldId id="280" r:id="rId7"/>
    <p:sldId id="281" r:id="rId8"/>
    <p:sldId id="277" r:id="rId9"/>
    <p:sldId id="282" r:id="rId10"/>
    <p:sldId id="283" r:id="rId11"/>
    <p:sldId id="284" r:id="rId12"/>
    <p:sldId id="285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</p14:sldIdLst>
        </p14:section>
        <p14:section name="Exchange Server vNEXT" id="{81D88599-6940-49BB-ACFA-1E601D319504}">
          <p14:sldIdLst>
            <p14:sldId id="259"/>
            <p14:sldId id="258"/>
            <p14:sldId id="278"/>
            <p14:sldId id="279"/>
            <p14:sldId id="280"/>
            <p14:sldId id="281"/>
            <p14:sldId id="277"/>
          </p14:sldIdLst>
        </p14:section>
        <p14:section name="Resources" id="{F55F53A8-2C8D-4218-83D9-F09EB27B2639}">
          <p14:sldIdLst>
            <p14:sldId id="282"/>
          </p14:sldIdLst>
        </p14:section>
        <p14:section name="User Group Änderungen" id="{7CCB5C54-E3C4-4115-B207-B037FB65D407}">
          <p14:sldIdLst>
            <p14:sldId id="283"/>
            <p14:sldId id="284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D737A7-2F8E-4B82-9225-C1B9CBC54DB5}" v="118" dt="2020-11-19T07:17:12.040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83" d="100"/>
          <a:sy n="83" d="100"/>
        </p:scale>
        <p:origin x="13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19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19.1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5840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516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49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30516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95016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2891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2093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4521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exusg.de/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go.granikos.eu/CommunitySticker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mailto:thomas.stensitzki@granikos.eu" TargetMode="External"/><Relationship Id="rId7" Type="http://schemas.openxmlformats.org/officeDocument/2006/relationships/hyperlink" Target="https://go.granikos.eu/Exchange2019Buch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hyperlink" Target="https://m365businessbuch.de/" TargetMode="Externa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techcommunity.microsoft.com/t5/exchange-team-blog/servicing-exchange-2013/ba-p/596398?WT.mc_id=M365-MVP-5003086" TargetMode="External"/><Relationship Id="rId3" Type="http://schemas.openxmlformats.org/officeDocument/2006/relationships/hyperlink" Target="https://myignite.microsoft.com/sessions/a97de344-7ce0-4210-a463-b3e4f5640f7a" TargetMode="External"/><Relationship Id="rId7" Type="http://schemas.openxmlformats.org/officeDocument/2006/relationships/hyperlink" Target="https://techcommunity.microsoft.com/t5/exchange-team-blog/exchange-server-2016-and-the-end-of-mainstream-support/ba-p/1574110?WT.mc_id=M365-MVP-5003086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docs.microsoft.com/de-de/Exchange/new-features/updates?redirectedfrom=MSDN&amp;view=exchserver-2019&amp;WT.mc_id=M365-MVP-5003086" TargetMode="External"/><Relationship Id="rId5" Type="http://schemas.openxmlformats.org/officeDocument/2006/relationships/hyperlink" Target="https://docs.microsoft.com/de-de/lifecycle/products/exchange-server-2019?WT.mc_id=M365-MVP-5003086" TargetMode="External"/><Relationship Id="rId4" Type="http://schemas.openxmlformats.org/officeDocument/2006/relationships/hyperlink" Target="https://docs.microsoft.com/de-de/lifecycle/products/exchange-server-2016?WT.mc_id=M365-MVP-5003086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{Online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19. November 2020</a:t>
            </a:r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/>
              <a:t>Exchange User Group Berlin </a:t>
            </a:r>
            <a:r>
              <a:rPr lang="de-DE" dirty="0">
                <a:sym typeface="Wingdings" panose="05000000000000000000" pitchFamily="2" charset="2"/>
              </a:rPr>
              <a:t> Exchange User Group DE</a:t>
            </a: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Homepage: </a:t>
            </a: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Twitter: @exusg #exus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7788" y="2175011"/>
            <a:ext cx="8771068" cy="250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change User Group Team</a:t>
            </a:r>
          </a:p>
          <a:p>
            <a:pPr lvl="1"/>
            <a:r>
              <a:rPr lang="de-DE" dirty="0"/>
              <a:t>Im Microsoft Community Tenant</a:t>
            </a:r>
          </a:p>
          <a:p>
            <a:endParaRPr lang="de-DE" dirty="0"/>
          </a:p>
          <a:p>
            <a:r>
              <a:rPr lang="de-DE" dirty="0"/>
              <a:t>Community Sticker</a:t>
            </a:r>
          </a:p>
          <a:p>
            <a:pPr lvl="1"/>
            <a:r>
              <a:rPr lang="de-DE" dirty="0">
                <a:solidFill>
                  <a:srgbClr val="37A5DD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dirty="0">
                <a:solidFill>
                  <a:srgbClr val="37A5DD"/>
                </a:solidFill>
              </a:rPr>
              <a:t> </a:t>
            </a:r>
          </a:p>
          <a:p>
            <a:pPr lvl="1"/>
            <a:r>
              <a:rPr lang="de-DE" dirty="0"/>
              <a:t>EXUSG-Logo Sticker in Kürze verfügbar</a:t>
            </a:r>
            <a:br>
              <a:rPr lang="de-DE" dirty="0"/>
            </a:br>
            <a:endParaRPr lang="de-DE" dirty="0"/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ticker-Contest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Exchange Floskeln und Texte per DM an @exusg</a:t>
            </a: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8473161" y="1880566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8118803" y="4026387"/>
            <a:ext cx="2221416" cy="222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/>
              <a:t>Exchange Server vNEXT</a:t>
            </a:r>
            <a:endParaRPr lang="de-DE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i="1"/>
              <a:t>Die Zukunft von Exchange Server</a:t>
            </a:r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577492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5257800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kern="0"/>
              <a:t>Thomas Stensitzki</a:t>
            </a:r>
          </a:p>
          <a:p>
            <a:pPr marL="0" indent="0">
              <a:buNone/>
            </a:pPr>
            <a:r>
              <a:rPr lang="de-DE" sz="2000" kern="0"/>
              <a:t>Enterprise Consultant</a:t>
            </a:r>
            <a:br>
              <a:rPr lang="de-DE" sz="2000" kern="0"/>
            </a:br>
            <a:r>
              <a:rPr lang="de-DE" sz="2000" kern="0"/>
              <a:t>Granikos GmbH &amp; Co. KG</a:t>
            </a:r>
            <a:br>
              <a:rPr lang="de-DE" sz="2000" kern="0"/>
            </a:br>
            <a:br>
              <a:rPr lang="de-DE" sz="2000" kern="0"/>
            </a:br>
            <a:r>
              <a:rPr lang="de-DE" sz="2000" kern="0"/>
              <a:t>MVP | MCT Regional Lead | MCSM</a:t>
            </a:r>
            <a:br>
              <a:rPr lang="de-DE" sz="2000" kern="0"/>
            </a:br>
            <a:br>
              <a:rPr lang="de-DE" sz="2000" kern="0"/>
            </a:br>
            <a:br>
              <a:rPr lang="de-DE" sz="2000" kern="0"/>
            </a:br>
            <a:r>
              <a:rPr lang="de-DE" sz="2000" kern="0"/>
              <a:t>@stensitzki</a:t>
            </a:r>
            <a:br>
              <a:rPr lang="de-DE" sz="2000" kern="0"/>
            </a:br>
            <a:r>
              <a:rPr lang="de-DE" sz="2000" kern="0">
                <a:solidFill>
                  <a:srgbClr val="37A5D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omas.stensitzki@granikos.eu</a:t>
            </a:r>
            <a:r>
              <a:rPr lang="de-DE" sz="2000" kern="0">
                <a:solidFill>
                  <a:srgbClr val="37A5DD"/>
                </a:solidFill>
              </a:rPr>
              <a:t> </a:t>
            </a:r>
            <a:endParaRPr lang="de-DE" sz="2000" kern="0" dirty="0">
              <a:solidFill>
                <a:srgbClr val="37A5DD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21248847-3FF0-4409-9A8D-174E1A1477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610" y="1589441"/>
            <a:ext cx="1726913" cy="696744"/>
          </a:xfrm>
          <a:prstGeom prst="rect">
            <a:avLst/>
          </a:prstGeom>
        </p:spPr>
      </p:pic>
      <p:pic>
        <p:nvPicPr>
          <p:cNvPr id="5" name="Grafik 4">
            <a:hlinkClick r:id="rId5"/>
            <a:extLst>
              <a:ext uri="{FF2B5EF4-FFF2-40B4-BE49-F238E27FC236}">
                <a16:creationId xmlns:a16="http://schemas.microsoft.com/office/drawing/2014/main" id="{D7A85379-0537-405A-8F96-DB1B8BC3EE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691" y="2846679"/>
            <a:ext cx="2722940" cy="34660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 descr="Ein Bild, das Screenshot, Text enthält.&#10;&#10;Automatisch generierte Beschreibung">
            <a:hlinkClick r:id="rId7"/>
            <a:extLst>
              <a:ext uri="{FF2B5EF4-FFF2-40B4-BE49-F238E27FC236}">
                <a16:creationId xmlns:a16="http://schemas.microsoft.com/office/drawing/2014/main" id="{88F97777-565E-4AA3-9103-8EB7EB31F7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95698" y="2846679"/>
            <a:ext cx="2440993" cy="346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851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4DD573-83D2-4CDD-AE0E-482C0B9EA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 vNEX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9AF230-7CEC-46E9-BF39-BEE4E4E1E3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Ankündigung zur Version </a:t>
            </a:r>
            <a:r>
              <a:rPr lang="de-DE"/>
              <a:t>vNEXT auf </a:t>
            </a:r>
            <a:r>
              <a:rPr lang="de-DE" dirty="0"/>
              <a:t>der Ignite 2020 Konferenz</a:t>
            </a:r>
          </a:p>
          <a:p>
            <a:r>
              <a:rPr lang="de-DE" dirty="0"/>
              <a:t>Verfügbar im zweiten Halbjahr 2021</a:t>
            </a:r>
          </a:p>
          <a:p>
            <a:r>
              <a:rPr lang="de-DE" dirty="0"/>
              <a:t>Änderung des Lizenzmodells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Abonnement</a:t>
            </a:r>
          </a:p>
          <a:p>
            <a:pPr lvl="1"/>
            <a:r>
              <a:rPr lang="de-DE" dirty="0"/>
              <a:t>Details sind noch nicht offiziell bekannt</a:t>
            </a:r>
          </a:p>
          <a:p>
            <a:r>
              <a:rPr lang="de-DE" dirty="0"/>
              <a:t>Produktaktualisierungen und Support erfordern ein aktives Abonnement</a:t>
            </a:r>
          </a:p>
          <a:p>
            <a:r>
              <a:rPr lang="de-DE" dirty="0"/>
              <a:t>Versprechen einer langfristigen Bereitstellung von Exchange Server vNEXT und einfache durchzuführende Aktualisierungen</a:t>
            </a:r>
          </a:p>
          <a:p>
            <a:endParaRPr lang="de-DE" dirty="0"/>
          </a:p>
          <a:p>
            <a:r>
              <a:rPr lang="de-DE" dirty="0"/>
              <a:t>Diese Änderungen betreffen </a:t>
            </a:r>
            <a:r>
              <a:rPr lang="de-DE" i="1" dirty="0"/>
              <a:t>Exchange Server</a:t>
            </a:r>
            <a:r>
              <a:rPr lang="de-DE" dirty="0"/>
              <a:t>, </a:t>
            </a:r>
            <a:r>
              <a:rPr lang="de-DE" i="1" dirty="0"/>
              <a:t>SharePoint Server </a:t>
            </a:r>
            <a:r>
              <a:rPr lang="de-DE" dirty="0"/>
              <a:t>und </a:t>
            </a:r>
            <a:r>
              <a:rPr lang="de-DE" i="1" dirty="0"/>
              <a:t>Skype </a:t>
            </a:r>
            <a:r>
              <a:rPr lang="de-DE" i="1" dirty="0" err="1"/>
              <a:t>for</a:t>
            </a:r>
            <a:r>
              <a:rPr lang="de-DE" i="1" dirty="0"/>
              <a:t> Business Server </a:t>
            </a:r>
            <a:r>
              <a:rPr lang="de-DE" dirty="0"/>
              <a:t>gleichermaßen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84984D-A07F-4DBB-A0CC-E264F0B6CF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0448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4DD573-83D2-4CDD-AE0E-482C0B9EA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 vNEX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9AF230-7CEC-46E9-BF39-BEE4E4E1E3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Koexistenz mit Exchange Server 2013, 2016 oder 2019</a:t>
            </a:r>
          </a:p>
          <a:p>
            <a:pPr lvl="1"/>
            <a:r>
              <a:rPr lang="de-DE" dirty="0"/>
              <a:t>Abweichung von der bisherigen N-2 </a:t>
            </a:r>
            <a:r>
              <a:rPr lang="de-DE" dirty="0" err="1"/>
              <a:t>Koexistenzunterstützung</a:t>
            </a:r>
            <a:endParaRPr lang="de-DE" dirty="0"/>
          </a:p>
          <a:p>
            <a:r>
              <a:rPr lang="de-DE" dirty="0"/>
              <a:t>In-Place Upgrade für Exchange Server 2019</a:t>
            </a:r>
          </a:p>
          <a:p>
            <a:pPr lvl="1"/>
            <a:r>
              <a:rPr lang="de-DE" dirty="0"/>
              <a:t>Vergleichbar mit der Installation eines kumulativen Updates</a:t>
            </a:r>
          </a:p>
          <a:p>
            <a:r>
              <a:rPr lang="de-DE" dirty="0"/>
              <a:t>Möglichkeit für ein In-Place Upgrade wird aber Veröffentlichung für zwei Jahre zur Verfügung stehen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b="1" dirty="0"/>
              <a:t>Empfehlung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Aktualisieren Sie jetzt auf Exchange Server 2019, wenn Sie weiterhin Exchange Server On-Premises betreiben möchten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84984D-A07F-4DBB-A0CC-E264F0B6CF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igrationswege </a:t>
            </a:r>
          </a:p>
        </p:txBody>
      </p:sp>
    </p:spTree>
    <p:extLst>
      <p:ext uri="{BB962C8B-B14F-4D97-AF65-F5344CB8AC3E}">
        <p14:creationId xmlns:p14="http://schemas.microsoft.com/office/powerpoint/2010/main" val="5680407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8608ADD-A532-4031-9003-D0D12F313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E741653C-591C-464E-B6BB-4F5D7A19E69C}"/>
              </a:ext>
            </a:extLst>
          </p:cNvPr>
          <p:cNvCxnSpPr/>
          <p:nvPr/>
        </p:nvCxnSpPr>
        <p:spPr>
          <a:xfrm>
            <a:off x="2253680" y="2290439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414ADDB4-4CB2-4867-951F-4D15F315C3DE}"/>
              </a:ext>
            </a:extLst>
          </p:cNvPr>
          <p:cNvCxnSpPr>
            <a:cxnSpLocks/>
          </p:cNvCxnSpPr>
          <p:nvPr/>
        </p:nvCxnSpPr>
        <p:spPr>
          <a:xfrm>
            <a:off x="3825729" y="2290439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44A60ECD-D8AB-40FB-A8D4-23C8DA2D3E07}"/>
              </a:ext>
            </a:extLst>
          </p:cNvPr>
          <p:cNvCxnSpPr>
            <a:cxnSpLocks/>
          </p:cNvCxnSpPr>
          <p:nvPr/>
        </p:nvCxnSpPr>
        <p:spPr>
          <a:xfrm>
            <a:off x="10113926" y="2290439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D9251DF0-C240-4B50-ABFF-240DC3EF719A}"/>
              </a:ext>
            </a:extLst>
          </p:cNvPr>
          <p:cNvCxnSpPr>
            <a:cxnSpLocks/>
          </p:cNvCxnSpPr>
          <p:nvPr/>
        </p:nvCxnSpPr>
        <p:spPr>
          <a:xfrm>
            <a:off x="5397778" y="2290439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658F6C64-5527-48EA-B57F-2F1F11BF04F2}"/>
              </a:ext>
            </a:extLst>
          </p:cNvPr>
          <p:cNvCxnSpPr>
            <a:cxnSpLocks/>
          </p:cNvCxnSpPr>
          <p:nvPr/>
        </p:nvCxnSpPr>
        <p:spPr>
          <a:xfrm>
            <a:off x="8541876" y="2290439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8811834B-13CF-4C9F-A6CD-6D5FD2FC4C0E}"/>
              </a:ext>
            </a:extLst>
          </p:cNvPr>
          <p:cNvCxnSpPr>
            <a:cxnSpLocks/>
          </p:cNvCxnSpPr>
          <p:nvPr/>
        </p:nvCxnSpPr>
        <p:spPr>
          <a:xfrm>
            <a:off x="6969827" y="2290439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507B6AE8-E40A-450E-ACA7-352D96377379}"/>
              </a:ext>
            </a:extLst>
          </p:cNvPr>
          <p:cNvSpPr txBox="1"/>
          <p:nvPr/>
        </p:nvSpPr>
        <p:spPr>
          <a:xfrm>
            <a:off x="2253681" y="1961965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021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117C26A-775F-4077-B72E-4D50A1EEBCE3}"/>
              </a:ext>
            </a:extLst>
          </p:cNvPr>
          <p:cNvSpPr txBox="1"/>
          <p:nvPr/>
        </p:nvSpPr>
        <p:spPr>
          <a:xfrm>
            <a:off x="477849" y="1961965"/>
            <a:ext cx="17758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020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6FE4AEE-A95C-45CA-A490-6035AA0685EE}"/>
              </a:ext>
            </a:extLst>
          </p:cNvPr>
          <p:cNvSpPr txBox="1"/>
          <p:nvPr/>
        </p:nvSpPr>
        <p:spPr>
          <a:xfrm>
            <a:off x="3825727" y="1961965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02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7A11D31-A9E4-4B97-A8E4-CC2FF65D7FDC}"/>
              </a:ext>
            </a:extLst>
          </p:cNvPr>
          <p:cNvSpPr txBox="1"/>
          <p:nvPr/>
        </p:nvSpPr>
        <p:spPr>
          <a:xfrm>
            <a:off x="5397774" y="1921107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023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EC33BBB-5A1C-4885-8FA4-0F3256420B85}"/>
              </a:ext>
            </a:extLst>
          </p:cNvPr>
          <p:cNvSpPr txBox="1"/>
          <p:nvPr/>
        </p:nvSpPr>
        <p:spPr>
          <a:xfrm>
            <a:off x="6969820" y="1921107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024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69ABC88-683D-4BEF-B736-6B4BC5D9B07A}"/>
              </a:ext>
            </a:extLst>
          </p:cNvPr>
          <p:cNvSpPr txBox="1"/>
          <p:nvPr/>
        </p:nvSpPr>
        <p:spPr>
          <a:xfrm>
            <a:off x="8541862" y="1921107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2025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4EDE2062-5B51-4153-94DD-A40AD7124CC9}"/>
              </a:ext>
            </a:extLst>
          </p:cNvPr>
          <p:cNvGrpSpPr/>
          <p:nvPr/>
        </p:nvGrpSpPr>
        <p:grpSpPr>
          <a:xfrm>
            <a:off x="651973" y="2290439"/>
            <a:ext cx="1775829" cy="3596962"/>
            <a:chOff x="49540" y="2290439"/>
            <a:chExt cx="1775829" cy="3596962"/>
          </a:xfrm>
        </p:grpSpPr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A71C949-3DD3-4256-9714-FAC3320E71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7455" y="2290439"/>
              <a:ext cx="0" cy="3066307"/>
            </a:xfrm>
            <a:prstGeom prst="line">
              <a:avLst/>
            </a:prstGeom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3AFC7732-1E5C-44DA-BB35-D3CB036301DB}"/>
                </a:ext>
              </a:extLst>
            </p:cNvPr>
            <p:cNvSpPr txBox="1"/>
            <p:nvPr/>
          </p:nvSpPr>
          <p:spPr>
            <a:xfrm>
              <a:off x="49540" y="5425736"/>
              <a:ext cx="177582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/>
                <a:t>Ignite</a:t>
              </a:r>
              <a:br>
                <a:rPr lang="de-DE" sz="1200" dirty="0"/>
              </a:br>
              <a:r>
                <a:rPr lang="de-DE" sz="1200" dirty="0"/>
                <a:t>September 2020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AE18482-9C01-4CF5-8713-016CC92E38A9}"/>
              </a:ext>
            </a:extLst>
          </p:cNvPr>
          <p:cNvGrpSpPr/>
          <p:nvPr/>
        </p:nvGrpSpPr>
        <p:grpSpPr>
          <a:xfrm>
            <a:off x="5006908" y="2290439"/>
            <a:ext cx="1775829" cy="4448773"/>
            <a:chOff x="4883121" y="2290439"/>
            <a:chExt cx="1775829" cy="4448773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D39851B-44E4-4FD1-8054-B12CBD036951}"/>
                </a:ext>
              </a:extLst>
            </p:cNvPr>
            <p:cNvCxnSpPr>
              <a:cxnSpLocks/>
              <a:stCxn id="26" idx="0"/>
            </p:cNvCxnSpPr>
            <p:nvPr/>
          </p:nvCxnSpPr>
          <p:spPr>
            <a:xfrm flipH="1" flipV="1">
              <a:off x="5771035" y="2290439"/>
              <a:ext cx="1" cy="3802442"/>
            </a:xfrm>
            <a:prstGeom prst="line">
              <a:avLst/>
            </a:prstGeom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059FACD5-8087-4FD0-9EE0-1843700CCCC2}"/>
                </a:ext>
              </a:extLst>
            </p:cNvPr>
            <p:cNvSpPr txBox="1"/>
            <p:nvPr/>
          </p:nvSpPr>
          <p:spPr>
            <a:xfrm>
              <a:off x="4883121" y="6092881"/>
              <a:ext cx="177582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/>
                <a:t>End-of-Support</a:t>
              </a:r>
              <a:br>
                <a:rPr lang="de-DE" sz="1200" dirty="0"/>
              </a:br>
              <a:r>
                <a:rPr lang="de-DE" sz="1200" dirty="0"/>
                <a:t>Exchange Server 2013</a:t>
              </a:r>
              <a:br>
                <a:rPr lang="de-DE" sz="1200" dirty="0"/>
              </a:br>
              <a:r>
                <a:rPr lang="de-DE" sz="1200" dirty="0"/>
                <a:t>April 2023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7D6DEA9-0A74-40FE-9451-DE3495AF599B}"/>
              </a:ext>
            </a:extLst>
          </p:cNvPr>
          <p:cNvGrpSpPr/>
          <p:nvPr/>
        </p:nvGrpSpPr>
        <p:grpSpPr>
          <a:xfrm>
            <a:off x="8670225" y="2290439"/>
            <a:ext cx="2129042" cy="4448772"/>
            <a:chOff x="9001012" y="2290439"/>
            <a:chExt cx="2129042" cy="4448772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D35985EA-ADEC-4DB6-8766-AF50DB3C11E3}"/>
                </a:ext>
              </a:extLst>
            </p:cNvPr>
            <p:cNvCxnSpPr>
              <a:cxnSpLocks/>
              <a:stCxn id="29" idx="0"/>
            </p:cNvCxnSpPr>
            <p:nvPr/>
          </p:nvCxnSpPr>
          <p:spPr>
            <a:xfrm flipV="1">
              <a:off x="10065533" y="2290439"/>
              <a:ext cx="0" cy="3802441"/>
            </a:xfrm>
            <a:prstGeom prst="line">
              <a:avLst/>
            </a:prstGeom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C22DA863-3B13-42AD-972C-19CA81956A1A}"/>
                </a:ext>
              </a:extLst>
            </p:cNvPr>
            <p:cNvSpPr txBox="1"/>
            <p:nvPr/>
          </p:nvSpPr>
          <p:spPr>
            <a:xfrm>
              <a:off x="9001012" y="6092880"/>
              <a:ext cx="212904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/>
                <a:t>End-of-Support</a:t>
              </a:r>
              <a:br>
                <a:rPr lang="de-DE" sz="1200" dirty="0"/>
              </a:br>
              <a:r>
                <a:rPr lang="de-DE" sz="1200" dirty="0"/>
                <a:t>Exchange Server 2016 &amp; 2019</a:t>
              </a:r>
              <a:br>
                <a:rPr lang="de-DE" sz="1200" dirty="0"/>
              </a:br>
              <a:r>
                <a:rPr lang="de-DE" sz="1200" dirty="0"/>
                <a:t>Oktober 2025</a:t>
              </a:r>
            </a:p>
          </p:txBody>
        </p:sp>
      </p:grpSp>
      <p:sp>
        <p:nvSpPr>
          <p:cNvPr id="30" name="Sprechblase: rechteckig mit abgerundeten Ecken 29">
            <a:extLst>
              <a:ext uri="{FF2B5EF4-FFF2-40B4-BE49-F238E27FC236}">
                <a16:creationId xmlns:a16="http://schemas.microsoft.com/office/drawing/2014/main" id="{C3331EF9-3D3E-4829-8505-108D077E20D1}"/>
              </a:ext>
            </a:extLst>
          </p:cNvPr>
          <p:cNvSpPr/>
          <p:nvPr/>
        </p:nvSpPr>
        <p:spPr>
          <a:xfrm>
            <a:off x="7063159" y="4495635"/>
            <a:ext cx="1541772" cy="711714"/>
          </a:xfrm>
          <a:prstGeom prst="wedgeRoundRectCallout">
            <a:avLst>
              <a:gd name="adj1" fmla="val -49094"/>
              <a:gd name="adj2" fmla="val -153749"/>
              <a:gd name="adj3" fmla="val 16667"/>
            </a:avLst>
          </a:prstGeom>
          <a:solidFill>
            <a:schemeClr val="tx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050" i="1" dirty="0"/>
              <a:t>Ende Mainstream-Support vorgezogen </a:t>
            </a:r>
            <a:br>
              <a:rPr lang="de-DE" sz="1050" i="1" dirty="0"/>
            </a:br>
            <a:r>
              <a:rPr lang="de-DE" sz="1050" i="1" dirty="0"/>
              <a:t>auf 9. Januar 2024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5D86676-7D39-4A01-9E83-E6ACD1F49913}"/>
              </a:ext>
            </a:extLst>
          </p:cNvPr>
          <p:cNvSpPr/>
          <p:nvPr/>
        </p:nvSpPr>
        <p:spPr>
          <a:xfrm>
            <a:off x="3422258" y="3185147"/>
            <a:ext cx="3281474" cy="562742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20000"/>
                  <a:lumOff val="80000"/>
                </a:schemeClr>
              </a:gs>
              <a:gs pos="50000">
                <a:schemeClr val="accent5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In-Place Upgrade Zeitraum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FF59613A-5792-4B2B-B382-77AA2B2BBB71}"/>
              </a:ext>
            </a:extLst>
          </p:cNvPr>
          <p:cNvGrpSpPr/>
          <p:nvPr/>
        </p:nvGrpSpPr>
        <p:grpSpPr>
          <a:xfrm>
            <a:off x="2396186" y="2449075"/>
            <a:ext cx="4302247" cy="738664"/>
            <a:chOff x="1793753" y="2449075"/>
            <a:chExt cx="4302247" cy="738664"/>
          </a:xfrm>
        </p:grpSpPr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A1F7E934-F54F-4593-A9B5-B08682860CA0}"/>
                </a:ext>
              </a:extLst>
            </p:cNvPr>
            <p:cNvCxnSpPr>
              <a:cxnSpLocks/>
            </p:cNvCxnSpPr>
            <p:nvPr/>
          </p:nvCxnSpPr>
          <p:spPr>
            <a:xfrm>
              <a:off x="2814526" y="3185147"/>
              <a:ext cx="3281474" cy="1"/>
            </a:xfrm>
            <a:prstGeom prst="straightConnector1">
              <a:avLst/>
            </a:prstGeom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70EE07B5-2E08-4EB8-857F-5C9437B11B10}"/>
                </a:ext>
              </a:extLst>
            </p:cNvPr>
            <p:cNvSpPr txBox="1"/>
            <p:nvPr/>
          </p:nvSpPr>
          <p:spPr>
            <a:xfrm>
              <a:off x="1793753" y="2449075"/>
              <a:ext cx="159291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/>
                <a:t>Exchange Server</a:t>
              </a:r>
              <a:br>
                <a:rPr lang="de-DE" sz="1400" b="1" dirty="0"/>
              </a:br>
              <a:r>
                <a:rPr lang="de-DE" sz="1400" b="1" dirty="0"/>
                <a:t>vNEXT</a:t>
              </a:r>
              <a:br>
                <a:rPr lang="de-DE" sz="1400" b="1" dirty="0"/>
              </a:br>
              <a:r>
                <a:rPr lang="de-DE" sz="1400" b="1" dirty="0"/>
                <a:t>H2 2021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784EDF48-9CF9-4B67-8244-730D6E5E0197}"/>
              </a:ext>
            </a:extLst>
          </p:cNvPr>
          <p:cNvGrpSpPr/>
          <p:nvPr/>
        </p:nvGrpSpPr>
        <p:grpSpPr>
          <a:xfrm>
            <a:off x="2253678" y="3188589"/>
            <a:ext cx="2291509" cy="2698811"/>
            <a:chOff x="1928026" y="3185147"/>
            <a:chExt cx="2291509" cy="2698811"/>
          </a:xfrm>
        </p:grpSpPr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3D5CEAC-7B57-4F5F-9B30-D2BAEA2D80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79263" y="3185147"/>
              <a:ext cx="17342" cy="2240589"/>
            </a:xfrm>
            <a:prstGeom prst="line">
              <a:avLst/>
            </a:prstGeom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8383E0B6-F835-4A10-B104-3DED98C1AD04}"/>
                </a:ext>
              </a:extLst>
            </p:cNvPr>
            <p:cNvSpPr txBox="1"/>
            <p:nvPr/>
          </p:nvSpPr>
          <p:spPr>
            <a:xfrm>
              <a:off x="1928026" y="5422293"/>
              <a:ext cx="229150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/>
                <a:t>In-Place Upgrade Phase zu </a:t>
              </a:r>
              <a:br>
                <a:rPr lang="de-DE" sz="1200" dirty="0"/>
              </a:br>
              <a:r>
                <a:rPr lang="de-DE" sz="1200" dirty="0"/>
                <a:t>Exchange Server vNEXT </a:t>
              </a:r>
              <a:r>
                <a:rPr lang="de-DE" sz="1200" b="1" dirty="0"/>
                <a:t>beginnt</a:t>
              </a: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0EBACCF9-51E8-49B6-B4A4-C9752BE12AF6}"/>
              </a:ext>
            </a:extLst>
          </p:cNvPr>
          <p:cNvGrpSpPr/>
          <p:nvPr/>
        </p:nvGrpSpPr>
        <p:grpSpPr>
          <a:xfrm>
            <a:off x="5652069" y="3201975"/>
            <a:ext cx="2052962" cy="2702253"/>
            <a:chOff x="5663313" y="3185147"/>
            <a:chExt cx="2052962" cy="2702253"/>
          </a:xfrm>
        </p:grpSpPr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B994D863-597F-4C13-93AC-F369418ABDA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715003" y="3185147"/>
              <a:ext cx="5" cy="2171600"/>
            </a:xfrm>
            <a:prstGeom prst="line">
              <a:avLst/>
            </a:prstGeom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84214638-48D5-4066-B354-09A7ED82733C}"/>
                </a:ext>
              </a:extLst>
            </p:cNvPr>
            <p:cNvSpPr txBox="1"/>
            <p:nvPr/>
          </p:nvSpPr>
          <p:spPr>
            <a:xfrm>
              <a:off x="5663313" y="5425735"/>
              <a:ext cx="20529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/>
                <a:t>In-Place Upgrade </a:t>
              </a:r>
              <a:br>
                <a:rPr lang="de-DE" sz="1200" dirty="0"/>
              </a:br>
              <a:r>
                <a:rPr lang="de-DE" sz="1200" dirty="0"/>
                <a:t>Phase </a:t>
              </a:r>
              <a:r>
                <a:rPr lang="de-DE" sz="1200" b="1" dirty="0"/>
                <a:t>endet</a:t>
              </a:r>
            </a:p>
          </p:txBody>
        </p:sp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8E674905-E90F-44AE-8BAB-19ED62625A9B}"/>
              </a:ext>
            </a:extLst>
          </p:cNvPr>
          <p:cNvCxnSpPr>
            <a:cxnSpLocks/>
          </p:cNvCxnSpPr>
          <p:nvPr/>
        </p:nvCxnSpPr>
        <p:spPr>
          <a:xfrm flipV="1">
            <a:off x="6698433" y="2402905"/>
            <a:ext cx="3962400" cy="782242"/>
          </a:xfrm>
          <a:prstGeom prst="straightConnector1">
            <a:avLst/>
          </a:prstGeom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07A3CD9D-86D1-4179-BB5E-408090B5D3B5}"/>
              </a:ext>
            </a:extLst>
          </p:cNvPr>
          <p:cNvGrpSpPr/>
          <p:nvPr/>
        </p:nvGrpSpPr>
        <p:grpSpPr>
          <a:xfrm>
            <a:off x="602433" y="4740158"/>
            <a:ext cx="5435229" cy="396725"/>
            <a:chOff x="0" y="4740158"/>
            <a:chExt cx="5926795" cy="396725"/>
          </a:xfrm>
        </p:grpSpPr>
        <p:cxnSp>
          <p:nvCxnSpPr>
            <p:cNvPr id="43" name="Gerade Verbindung mit Pfeil 42">
              <a:extLst>
                <a:ext uri="{FF2B5EF4-FFF2-40B4-BE49-F238E27FC236}">
                  <a16:creationId xmlns:a16="http://schemas.microsoft.com/office/drawing/2014/main" id="{99AC89C6-1E30-49C9-87BA-56F7DCA1D742}"/>
                </a:ext>
              </a:extLst>
            </p:cNvPr>
            <p:cNvCxnSpPr/>
            <p:nvPr/>
          </p:nvCxnSpPr>
          <p:spPr>
            <a:xfrm>
              <a:off x="0" y="4864963"/>
              <a:ext cx="5771036" cy="0"/>
            </a:xfrm>
            <a:prstGeom prst="straightConnector1">
              <a:avLst/>
            </a:prstGeom>
            <a:ln w="28575" cap="flat" cmpd="sng" algn="ctr">
              <a:solidFill>
                <a:srgbClr val="92D050"/>
              </a:solidFill>
              <a:prstDash val="dash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A30A62AE-DBDE-49B9-98BB-33BFD2C40B34}"/>
                </a:ext>
              </a:extLst>
            </p:cNvPr>
            <p:cNvSpPr txBox="1"/>
            <p:nvPr/>
          </p:nvSpPr>
          <p:spPr>
            <a:xfrm>
              <a:off x="3635284" y="4829106"/>
              <a:ext cx="22915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rgbClr val="92D050"/>
                  </a:solidFill>
                </a:rPr>
                <a:t>Exchange Server 2013</a:t>
              </a:r>
            </a:p>
          </p:txBody>
        </p: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3A3C7118-8793-47EF-A866-E41DC4FD8108}"/>
                </a:ext>
              </a:extLst>
            </p:cNvPr>
            <p:cNvCxnSpPr>
              <a:cxnSpLocks/>
            </p:cNvCxnSpPr>
            <p:nvPr/>
          </p:nvCxnSpPr>
          <p:spPr>
            <a:xfrm>
              <a:off x="5771035" y="4740158"/>
              <a:ext cx="0" cy="249610"/>
            </a:xfrm>
            <a:prstGeom prst="line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4229CC16-C56B-42D0-8468-22F29E876771}"/>
              </a:ext>
            </a:extLst>
          </p:cNvPr>
          <p:cNvGrpSpPr/>
          <p:nvPr/>
        </p:nvGrpSpPr>
        <p:grpSpPr>
          <a:xfrm>
            <a:off x="602434" y="4180635"/>
            <a:ext cx="9132304" cy="381251"/>
            <a:chOff x="0" y="4180635"/>
            <a:chExt cx="10065533" cy="381251"/>
          </a:xfrm>
        </p:grpSpPr>
        <p:cxnSp>
          <p:nvCxnSpPr>
            <p:cNvPr id="47" name="Gerade Verbindung mit Pfeil 46">
              <a:extLst>
                <a:ext uri="{FF2B5EF4-FFF2-40B4-BE49-F238E27FC236}">
                  <a16:creationId xmlns:a16="http://schemas.microsoft.com/office/drawing/2014/main" id="{CE19CA7A-97A1-402E-BE52-65B3F351FA00}"/>
                </a:ext>
              </a:extLst>
            </p:cNvPr>
            <p:cNvCxnSpPr>
              <a:cxnSpLocks/>
            </p:cNvCxnSpPr>
            <p:nvPr/>
          </p:nvCxnSpPr>
          <p:spPr>
            <a:xfrm>
              <a:off x="1180730" y="4305638"/>
              <a:ext cx="8884803" cy="0"/>
            </a:xfrm>
            <a:prstGeom prst="straightConnector1">
              <a:avLst/>
            </a:prstGeom>
            <a:ln w="28575" cap="flat" cmpd="sng" algn="ctr">
              <a:solidFill>
                <a:srgbClr val="FFC000"/>
              </a:solidFill>
              <a:prstDash val="dash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8" name="Gerade Verbindung mit Pfeil 47">
              <a:extLst>
                <a:ext uri="{FF2B5EF4-FFF2-40B4-BE49-F238E27FC236}">
                  <a16:creationId xmlns:a16="http://schemas.microsoft.com/office/drawing/2014/main" id="{FDC8EBDA-7D7E-4039-9694-1E0037E557AD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305440"/>
              <a:ext cx="1168274" cy="0"/>
            </a:xfrm>
            <a:prstGeom prst="straightConnector1">
              <a:avLst/>
            </a:prstGeom>
            <a:ln w="2857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967EFCA1-5E07-44FA-9046-CE44E18410CD}"/>
                </a:ext>
              </a:extLst>
            </p:cNvPr>
            <p:cNvSpPr txBox="1"/>
            <p:nvPr/>
          </p:nvSpPr>
          <p:spPr>
            <a:xfrm>
              <a:off x="3674452" y="4254109"/>
              <a:ext cx="2291511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rgbClr val="FFC000"/>
                  </a:solidFill>
                </a:rPr>
                <a:t>Exchange Server 2016</a:t>
              </a:r>
            </a:p>
          </p:txBody>
        </p: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0344565D-B771-440E-9A81-C3B32CBCE0D2}"/>
                </a:ext>
              </a:extLst>
            </p:cNvPr>
            <p:cNvCxnSpPr>
              <a:cxnSpLocks/>
            </p:cNvCxnSpPr>
            <p:nvPr/>
          </p:nvCxnSpPr>
          <p:spPr>
            <a:xfrm>
              <a:off x="10065533" y="4180635"/>
              <a:ext cx="0" cy="249610"/>
            </a:xfrm>
            <a:prstGeom prst="line">
              <a:avLst/>
            </a:prstGeom>
            <a:ln w="381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63326AB1-BAB6-4399-BEA5-14CEC46567E7}"/>
                </a:ext>
              </a:extLst>
            </p:cNvPr>
            <p:cNvCxnSpPr>
              <a:cxnSpLocks/>
            </p:cNvCxnSpPr>
            <p:nvPr/>
          </p:nvCxnSpPr>
          <p:spPr>
            <a:xfrm>
              <a:off x="1168274" y="4180635"/>
              <a:ext cx="0" cy="249610"/>
            </a:xfrm>
            <a:prstGeom prst="line">
              <a:avLst/>
            </a:prstGeom>
            <a:ln w="381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030318FD-F9EF-47BC-B045-EAFDC6A7005C}"/>
              </a:ext>
            </a:extLst>
          </p:cNvPr>
          <p:cNvGrpSpPr/>
          <p:nvPr/>
        </p:nvGrpSpPr>
        <p:grpSpPr>
          <a:xfrm>
            <a:off x="602434" y="3623084"/>
            <a:ext cx="9132304" cy="414624"/>
            <a:chOff x="0" y="3623084"/>
            <a:chExt cx="10065533" cy="414624"/>
          </a:xfrm>
        </p:grpSpPr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6C2BB0BD-9526-4F4A-9222-BD0946A8A5F8}"/>
                </a:ext>
              </a:extLst>
            </p:cNvPr>
            <p:cNvCxnSpPr>
              <a:cxnSpLocks/>
            </p:cNvCxnSpPr>
            <p:nvPr/>
          </p:nvCxnSpPr>
          <p:spPr>
            <a:xfrm>
              <a:off x="7111014" y="3741479"/>
              <a:ext cx="2954519" cy="2959"/>
            </a:xfrm>
            <a:prstGeom prst="straightConnector1">
              <a:avLst/>
            </a:prstGeom>
            <a:ln w="28575" cap="flat" cmpd="sng" algn="ctr">
              <a:solidFill>
                <a:schemeClr val="accent4">
                  <a:lumMod val="20000"/>
                  <a:lumOff val="80000"/>
                </a:schemeClr>
              </a:solidFill>
              <a:prstDash val="dash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C21DAA9D-3B03-4AE2-832C-117BF443ECA5}"/>
                </a:ext>
              </a:extLst>
            </p:cNvPr>
            <p:cNvSpPr txBox="1"/>
            <p:nvPr/>
          </p:nvSpPr>
          <p:spPr>
            <a:xfrm>
              <a:off x="3674452" y="3729931"/>
              <a:ext cx="2291511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accent4">
                      <a:lumMod val="20000"/>
                      <a:lumOff val="80000"/>
                    </a:schemeClr>
                  </a:solidFill>
                </a:rPr>
                <a:t>Exchange Server 2019</a:t>
              </a:r>
            </a:p>
          </p:txBody>
        </p:sp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30C3228D-BA25-4AC7-BFF0-A4C6002020A1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745918"/>
              <a:ext cx="7111014" cy="0"/>
            </a:xfrm>
            <a:prstGeom prst="straightConnector1">
              <a:avLst/>
            </a:prstGeom>
            <a:ln w="28575" cap="flat" cmpd="sng" algn="ctr">
              <a:solidFill>
                <a:schemeClr val="accent4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57FCFDC0-F7A1-48D9-9363-905BCA33A194}"/>
                </a:ext>
              </a:extLst>
            </p:cNvPr>
            <p:cNvCxnSpPr>
              <a:cxnSpLocks/>
            </p:cNvCxnSpPr>
            <p:nvPr/>
          </p:nvCxnSpPr>
          <p:spPr>
            <a:xfrm>
              <a:off x="10065533" y="3623084"/>
              <a:ext cx="0" cy="249610"/>
            </a:xfrm>
            <a:prstGeom prst="line">
              <a:avLst/>
            </a:prstGeom>
            <a:ln w="38100">
              <a:solidFill>
                <a:schemeClr val="accent4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18E81890-30F7-4CA1-B411-C322CDE0E56B}"/>
                </a:ext>
              </a:extLst>
            </p:cNvPr>
            <p:cNvCxnSpPr>
              <a:cxnSpLocks/>
            </p:cNvCxnSpPr>
            <p:nvPr/>
          </p:nvCxnSpPr>
          <p:spPr>
            <a:xfrm>
              <a:off x="7111014" y="3633452"/>
              <a:ext cx="0" cy="249610"/>
            </a:xfrm>
            <a:prstGeom prst="line">
              <a:avLst/>
            </a:prstGeom>
            <a:ln w="38100">
              <a:solidFill>
                <a:schemeClr val="accent4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65E90639-A554-482E-A35F-113E52B45A29}"/>
              </a:ext>
            </a:extLst>
          </p:cNvPr>
          <p:cNvGrpSpPr/>
          <p:nvPr/>
        </p:nvGrpSpPr>
        <p:grpSpPr>
          <a:xfrm>
            <a:off x="112359" y="5928294"/>
            <a:ext cx="2506807" cy="461004"/>
            <a:chOff x="206476" y="6262655"/>
            <a:chExt cx="2506807" cy="461004"/>
          </a:xfrm>
        </p:grpSpPr>
        <p:cxnSp>
          <p:nvCxnSpPr>
            <p:cNvPr id="59" name="Gerade Verbindung mit Pfeil 58">
              <a:extLst>
                <a:ext uri="{FF2B5EF4-FFF2-40B4-BE49-F238E27FC236}">
                  <a16:creationId xmlns:a16="http://schemas.microsoft.com/office/drawing/2014/main" id="{AC013DCF-A291-43BC-81AC-9746B30F0155}"/>
                </a:ext>
              </a:extLst>
            </p:cNvPr>
            <p:cNvCxnSpPr>
              <a:cxnSpLocks/>
            </p:cNvCxnSpPr>
            <p:nvPr/>
          </p:nvCxnSpPr>
          <p:spPr>
            <a:xfrm>
              <a:off x="206476" y="6612525"/>
              <a:ext cx="730978" cy="0"/>
            </a:xfrm>
            <a:prstGeom prst="straightConnector1">
              <a:avLst/>
            </a:prstGeom>
            <a:ln w="285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0" name="Gerade Verbindung mit Pfeil 59">
              <a:extLst>
                <a:ext uri="{FF2B5EF4-FFF2-40B4-BE49-F238E27FC236}">
                  <a16:creationId xmlns:a16="http://schemas.microsoft.com/office/drawing/2014/main" id="{8F2FC933-E521-4B79-9E8F-754DE9AE4330}"/>
                </a:ext>
              </a:extLst>
            </p:cNvPr>
            <p:cNvCxnSpPr>
              <a:cxnSpLocks/>
            </p:cNvCxnSpPr>
            <p:nvPr/>
          </p:nvCxnSpPr>
          <p:spPr>
            <a:xfrm>
              <a:off x="206476" y="6401155"/>
              <a:ext cx="730978" cy="0"/>
            </a:xfrm>
            <a:prstGeom prst="straightConnector1">
              <a:avLst/>
            </a:prstGeom>
            <a:ln w="285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94C06D5C-E9AF-4640-872B-C737CA4DC98C}"/>
                </a:ext>
              </a:extLst>
            </p:cNvPr>
            <p:cNvSpPr txBox="1"/>
            <p:nvPr/>
          </p:nvSpPr>
          <p:spPr>
            <a:xfrm>
              <a:off x="937454" y="6262655"/>
              <a:ext cx="177582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/>
                <a:t>Mainstream-Support</a:t>
              </a: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7FB7E95E-C7BC-4901-8E82-09AFF2E245DC}"/>
                </a:ext>
              </a:extLst>
            </p:cNvPr>
            <p:cNvSpPr txBox="1"/>
            <p:nvPr/>
          </p:nvSpPr>
          <p:spPr>
            <a:xfrm>
              <a:off x="937453" y="6477438"/>
              <a:ext cx="177582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/>
                <a:t>Extended Support</a:t>
              </a:r>
            </a:p>
          </p:txBody>
        </p:sp>
      </p:grpSp>
      <p:sp>
        <p:nvSpPr>
          <p:cNvPr id="63" name="Textfeld 62">
            <a:extLst>
              <a:ext uri="{FF2B5EF4-FFF2-40B4-BE49-F238E27FC236}">
                <a16:creationId xmlns:a16="http://schemas.microsoft.com/office/drawing/2014/main" id="{B7AB983B-FB10-4E6D-B03F-EB99499B9B33}"/>
              </a:ext>
            </a:extLst>
          </p:cNvPr>
          <p:cNvSpPr txBox="1"/>
          <p:nvPr/>
        </p:nvSpPr>
        <p:spPr>
          <a:xfrm>
            <a:off x="10212484" y="1941239"/>
            <a:ext cx="18668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Exchange vNEXT </a:t>
            </a:r>
            <a:br>
              <a:rPr lang="de-DE" sz="1200" dirty="0"/>
            </a:br>
            <a:r>
              <a:rPr lang="de-DE" sz="1200" dirty="0"/>
              <a:t>Abonnement erforderlich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1566D4F0-AC26-4B49-9B7B-D6F2B11E35BD}"/>
              </a:ext>
            </a:extLst>
          </p:cNvPr>
          <p:cNvGrpSpPr/>
          <p:nvPr/>
        </p:nvGrpSpPr>
        <p:grpSpPr>
          <a:xfrm>
            <a:off x="1288384" y="1507682"/>
            <a:ext cx="1370830" cy="3865893"/>
            <a:chOff x="481558" y="1507682"/>
            <a:chExt cx="1370830" cy="3865893"/>
          </a:xfrm>
        </p:grpSpPr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ABDDDA01-1374-4299-9D31-910732C77B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6973" y="1739747"/>
              <a:ext cx="0" cy="3633828"/>
            </a:xfrm>
            <a:prstGeom prst="line">
              <a:avLst/>
            </a:prstGeom>
            <a:ln w="1905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3E7E79A5-86A2-4D80-87A3-9F6CAB3D766A}"/>
                </a:ext>
              </a:extLst>
            </p:cNvPr>
            <p:cNvSpPr txBox="1"/>
            <p:nvPr/>
          </p:nvSpPr>
          <p:spPr>
            <a:xfrm>
              <a:off x="481558" y="1507682"/>
              <a:ext cx="13708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EXUSG Meetu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80697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6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7821CA-4AC1-4337-8EE8-F911C6F77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 Life-Cycle Daten</a:t>
            </a:r>
          </a:p>
        </p:txBody>
      </p:sp>
      <p:graphicFrame>
        <p:nvGraphicFramePr>
          <p:cNvPr id="4" name="Tabelle 2">
            <a:extLst>
              <a:ext uri="{FF2B5EF4-FFF2-40B4-BE49-F238E27FC236}">
                <a16:creationId xmlns:a16="http://schemas.microsoft.com/office/drawing/2014/main" id="{5D3837D1-62A6-45A0-AB30-5AC3EF59B5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3040482"/>
              </p:ext>
            </p:extLst>
          </p:nvPr>
        </p:nvGraphicFramePr>
        <p:xfrm>
          <a:off x="838199" y="2464379"/>
          <a:ext cx="10457328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5776">
                  <a:extLst>
                    <a:ext uri="{9D8B030D-6E8A-4147-A177-3AD203B41FA5}">
                      <a16:colId xmlns:a16="http://schemas.microsoft.com/office/drawing/2014/main" val="2259170253"/>
                    </a:ext>
                  </a:extLst>
                </a:gridCol>
                <a:gridCol w="3485776">
                  <a:extLst>
                    <a:ext uri="{9D8B030D-6E8A-4147-A177-3AD203B41FA5}">
                      <a16:colId xmlns:a16="http://schemas.microsoft.com/office/drawing/2014/main" val="1489124791"/>
                    </a:ext>
                  </a:extLst>
                </a:gridCol>
                <a:gridCol w="3485776">
                  <a:extLst>
                    <a:ext uri="{9D8B030D-6E8A-4147-A177-3AD203B41FA5}">
                      <a16:colId xmlns:a16="http://schemas.microsoft.com/office/drawing/2014/main" val="30042683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Produktver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ainstream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xtended 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2406427"/>
                  </a:ext>
                </a:extLst>
              </a:tr>
              <a:tr h="398681">
                <a:tc>
                  <a:txBody>
                    <a:bodyPr/>
                    <a:lstStyle/>
                    <a:p>
                      <a:r>
                        <a:rPr lang="de-DE" b="1" dirty="0"/>
                        <a:t>Exchange Server 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9. Januar 2024</a:t>
                      </a:r>
                      <a:br>
                        <a:rPr lang="de-DE" dirty="0"/>
                      </a:br>
                      <a:r>
                        <a:rPr lang="de-DE" i="1" strike="sngStrike" dirty="0"/>
                        <a:t>1. September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4. Oktober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7138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Exchange Server 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highlight>
                            <a:srgbClr val="FFFF00"/>
                          </a:highlight>
                        </a:rPr>
                        <a:t>13. Oktober 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4. Oktober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6358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Exchange Server 20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. April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. April 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53103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trike="sngStrike" dirty="0"/>
                        <a:t>Exchange Server 2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. Januar 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highlight>
                            <a:srgbClr val="FFFF00"/>
                          </a:highlight>
                        </a:rPr>
                        <a:t>13. Oktober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81785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17152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Fra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976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855165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AC167DDF-F35E-40DD-9598-3EA4810A2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Ressourc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26E1B01-608F-4484-937A-1F1B87C85A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>
                <a:solidFill>
                  <a:srgbClr val="37A5D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gnite Session: Exchange – Here, There and Everywhere</a:t>
            </a:r>
            <a:endParaRPr lang="de-DE">
              <a:solidFill>
                <a:srgbClr val="37A5DD"/>
              </a:solidFill>
            </a:endParaRPr>
          </a:p>
          <a:p>
            <a:r>
              <a:rPr lang="de-DE">
                <a:solidFill>
                  <a:srgbClr val="37A5DD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kt Life-Cycle Exchange Server 2016</a:t>
            </a:r>
            <a:r>
              <a:rPr lang="de-DE">
                <a:solidFill>
                  <a:srgbClr val="37A5DD"/>
                </a:solidFill>
              </a:rPr>
              <a:t> </a:t>
            </a:r>
          </a:p>
          <a:p>
            <a:r>
              <a:rPr lang="de-DE">
                <a:solidFill>
                  <a:srgbClr val="37A5DD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kt Life-Cycle Exchange Server 2019</a:t>
            </a:r>
            <a:r>
              <a:rPr lang="de-DE">
                <a:solidFill>
                  <a:srgbClr val="37A5DD"/>
                </a:solidFill>
              </a:rPr>
              <a:t> </a:t>
            </a:r>
          </a:p>
          <a:p>
            <a:r>
              <a:rPr lang="de-DE">
                <a:solidFill>
                  <a:srgbClr val="37A5DD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change Server Servicing Model</a:t>
            </a:r>
            <a:r>
              <a:rPr lang="de-DE">
                <a:solidFill>
                  <a:srgbClr val="37A5DD"/>
                </a:solidFill>
              </a:rPr>
              <a:t> </a:t>
            </a:r>
          </a:p>
          <a:p>
            <a:r>
              <a:rPr lang="de-DE">
                <a:solidFill>
                  <a:srgbClr val="37A5DD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change Server 2016 and the End of Mainstream Support</a:t>
            </a:r>
            <a:r>
              <a:rPr lang="de-DE">
                <a:solidFill>
                  <a:srgbClr val="37A5DD"/>
                </a:solidFill>
              </a:rPr>
              <a:t> </a:t>
            </a:r>
          </a:p>
          <a:p>
            <a:r>
              <a:rPr lang="de-DE">
                <a:solidFill>
                  <a:srgbClr val="37A5DD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ing Exchange Server 2013</a:t>
            </a:r>
            <a:endParaRPr lang="de-DE">
              <a:solidFill>
                <a:srgbClr val="37A5DD"/>
              </a:solidFill>
            </a:endParaRPr>
          </a:p>
          <a:p>
            <a:endParaRPr lang="de-DE" dirty="0">
              <a:solidFill>
                <a:srgbClr val="37A5DD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EA59AE8-FA0B-41DD-ACBA-A5F925EE2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5903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USG_Master</Template>
  <TotalTime>0</TotalTime>
  <Words>440</Words>
  <Application>Microsoft Office PowerPoint</Application>
  <PresentationFormat>Breitbild</PresentationFormat>
  <Paragraphs>99</Paragraphs>
  <Slides>12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7" baseType="lpstr">
      <vt:lpstr>Arial</vt:lpstr>
      <vt:lpstr>Calibri</vt:lpstr>
      <vt:lpstr>Segoe UI</vt:lpstr>
      <vt:lpstr>Wingdings</vt:lpstr>
      <vt:lpstr>Office</vt:lpstr>
      <vt:lpstr>Exchange User Group {Online Edition}</vt:lpstr>
      <vt:lpstr>Exchange Server vNEXT</vt:lpstr>
      <vt:lpstr>PowerPoint-Präsentation</vt:lpstr>
      <vt:lpstr>Exchange Server vNEXT</vt:lpstr>
      <vt:lpstr>Exchange Server vNEXT</vt:lpstr>
      <vt:lpstr>Exchange Server</vt:lpstr>
      <vt:lpstr>Exchange Server Life-Cycle Daten</vt:lpstr>
      <vt:lpstr>Fragen</vt:lpstr>
      <vt:lpstr>Ressourcen</vt:lpstr>
      <vt:lpstr>Exchange User Group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November 2020</dc:title>
  <dc:subject>Exchange User Group | UG Meetup November 2020</dc:subject>
  <dc:creator>Thomas.Stensitzki@Granikos.eu</dc:creator>
  <cp:keywords>EXUSG</cp:keywords>
  <cp:lastModifiedBy>Thomas Stensitzki</cp:lastModifiedBy>
  <cp:revision>78</cp:revision>
  <dcterms:created xsi:type="dcterms:W3CDTF">2017-02-23T19:31:41Z</dcterms:created>
  <dcterms:modified xsi:type="dcterms:W3CDTF">2020-11-19T07:17:20Z</dcterms:modified>
  <cp:contentStatus>Final</cp:contentStatus>
</cp:coreProperties>
</file>